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F6F6F6"/>
    <a:srgbClr val="5A5A5A"/>
    <a:srgbClr val="444444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13:03:52.607" v="114" actId="27918"/>
      <pc:docMkLst>
        <pc:docMk/>
      </pc:docMkLst>
      <pc:sldChg chg="modSp mod">
        <pc:chgData name="Weigel Stefan (PAR-EPS)" userId="fd3b2067-2981-4ad8-bf3a-d2e1004e4fa8" providerId="ADAL" clId="{6DC46216-0C43-43E9-842A-1C620F326D3C}" dt="2024-02-28T13:03:52.607" v="114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6B8C8830-0F0E-4306-A6E5-3C3BCDF31BB2}"/>
    <pc:docChg chg="modSld">
      <pc:chgData name="Weigel Stefan (PAR-EPS)" userId="fd3b2067-2981-4ad8-bf3a-d2e1004e4fa8" providerId="ADAL" clId="{6B8C8830-0F0E-4306-A6E5-3C3BCDF31BB2}" dt="2024-04-08T14:18:38.827" v="14" actId="207"/>
      <pc:docMkLst>
        <pc:docMk/>
      </pc:docMkLst>
      <pc:sldChg chg="modSp mod setBg">
        <pc:chgData name="Weigel Stefan (PAR-EPS)" userId="fd3b2067-2981-4ad8-bf3a-d2e1004e4fa8" providerId="ADAL" clId="{6B8C8830-0F0E-4306-A6E5-3C3BCDF31BB2}" dt="2024-04-08T14:18:38.827" v="14" actId="207"/>
        <pc:sldMkLst>
          <pc:docMk/>
          <pc:sldMk cId="2543225151" sldId="405"/>
        </pc:sldMkLst>
        <pc:spChg chg="mod">
          <ac:chgData name="Weigel Stefan (PAR-EPS)" userId="fd3b2067-2981-4ad8-bf3a-d2e1004e4fa8" providerId="ADAL" clId="{6B8C8830-0F0E-4306-A6E5-3C3BCDF31BB2}" dt="2024-04-08T14:09:30.103" v="12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B8C8830-0F0E-4306-A6E5-3C3BCDF31BB2}" dt="2024-04-08T14:09:30.103" v="12" actId="554"/>
          <ac:spMkLst>
            <pc:docMk/>
            <pc:sldMk cId="2543225151" sldId="405"/>
            <ac:spMk id="7" creationId="{3D334280-6DD2-4055-8D55-795F939CC5BB}"/>
          </ac:spMkLst>
        </pc:spChg>
        <pc:graphicFrameChg chg="mod">
          <ac:chgData name="Weigel Stefan (PAR-EPS)" userId="fd3b2067-2981-4ad8-bf3a-d2e1004e4fa8" providerId="ADAL" clId="{6B8C8830-0F0E-4306-A6E5-3C3BCDF31BB2}" dt="2024-04-08T14:18:38.827" v="14" actId="20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E609EC29-C814-4E19-831B-C1DBEB348ED3}"/>
    <pc:docChg chg="modSld">
      <pc:chgData name="Weigel Stefan (PAR-EPS)" userId="fd3b2067-2981-4ad8-bf3a-d2e1004e4fa8" providerId="ADAL" clId="{E609EC29-C814-4E19-831B-C1DBEB348ED3}" dt="2025-02-21T09:27:45.075" v="5" actId="1076"/>
      <pc:docMkLst>
        <pc:docMk/>
      </pc:docMkLst>
      <pc:sldChg chg="modSp mod">
        <pc:chgData name="Weigel Stefan (PAR-EPS)" userId="fd3b2067-2981-4ad8-bf3a-d2e1004e4fa8" providerId="ADAL" clId="{E609EC29-C814-4E19-831B-C1DBEB348ED3}" dt="2025-02-21T09:27:45.075" v="5" actId="1076"/>
        <pc:sldMkLst>
          <pc:docMk/>
          <pc:sldMk cId="2543225151" sldId="405"/>
        </pc:sldMkLst>
        <pc:spChg chg="mod">
          <ac:chgData name="Weigel Stefan (PAR-EPS)" userId="fd3b2067-2981-4ad8-bf3a-d2e1004e4fa8" providerId="ADAL" clId="{E609EC29-C814-4E19-831B-C1DBEB348ED3}" dt="2025-02-21T09:27:45.075" v="5" actId="1076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arkt Personenverkehr und Produktion Personenverkehr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4821249399999998</c:v>
                </c:pt>
                <c:pt idx="1">
                  <c:v>0.8283368277230001</c:v>
                </c:pt>
                <c:pt idx="2">
                  <c:v>0.57791295489000005</c:v>
                </c:pt>
                <c:pt idx="3">
                  <c:v>0.72153651090999993</c:v>
                </c:pt>
                <c:pt idx="4">
                  <c:v>0.75046792439999999</c:v>
                </c:pt>
                <c:pt idx="5">
                  <c:v>0.89454509217</c:v>
                </c:pt>
                <c:pt idx="6">
                  <c:v>1.1871844599050101</c:v>
                </c:pt>
                <c:pt idx="7">
                  <c:v>0.93675952575999999</c:v>
                </c:pt>
                <c:pt idx="8">
                  <c:v>0.80510579250657099</c:v>
                </c:pt>
                <c:pt idx="9">
                  <c:v>0.68115935371000003</c:v>
                </c:pt>
                <c:pt idx="10">
                  <c:v>0.9963505749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n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45806077000000001</c:v>
                </c:pt>
                <c:pt idx="1">
                  <c:v>0.55061685219000001</c:v>
                </c:pt>
                <c:pt idx="2">
                  <c:v>0.55449757157000001</c:v>
                </c:pt>
                <c:pt idx="3">
                  <c:v>0.68340522972999995</c:v>
                </c:pt>
                <c:pt idx="4">
                  <c:v>0.61872345032999998</c:v>
                </c:pt>
                <c:pt idx="5">
                  <c:v>0.58587582732999999</c:v>
                </c:pt>
                <c:pt idx="6">
                  <c:v>0.46327612801000001</c:v>
                </c:pt>
                <c:pt idx="7">
                  <c:v>0.41223381136000004</c:v>
                </c:pt>
                <c:pt idx="8">
                  <c:v>0.50162527670000001</c:v>
                </c:pt>
                <c:pt idx="9">
                  <c:v>0.57835182270999996</c:v>
                </c:pt>
                <c:pt idx="10">
                  <c:v>0.46478766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Güterverkehr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1.5886504370000002E-2</c:v>
                </c:pt>
                <c:pt idx="1">
                  <c:v>2.7714453720000001E-2</c:v>
                </c:pt>
                <c:pt idx="2">
                  <c:v>1.8395506739999998E-2</c:v>
                </c:pt>
                <c:pt idx="3">
                  <c:v>3.0482708840000001E-2</c:v>
                </c:pt>
                <c:pt idx="4">
                  <c:v>3.3709855660000003E-2</c:v>
                </c:pt>
                <c:pt idx="5">
                  <c:v>3.41360847E-2</c:v>
                </c:pt>
                <c:pt idx="6">
                  <c:v>3.7950270030480501E-2</c:v>
                </c:pt>
                <c:pt idx="7">
                  <c:v>3.1848191114242905E-2</c:v>
                </c:pt>
                <c:pt idx="8">
                  <c:v>1.7805723632602698E-2</c:v>
                </c:pt>
                <c:pt idx="9">
                  <c:v>2.3656667707650202E-2</c:v>
                </c:pt>
                <c:pt idx="10">
                  <c:v>4.72275502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ktur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0842433488999998</c:v>
                </c:pt>
                <c:pt idx="1">
                  <c:v>2.1402772349300001</c:v>
                </c:pt>
                <c:pt idx="2">
                  <c:v>5.7711939926399998</c:v>
                </c:pt>
                <c:pt idx="3">
                  <c:v>2.0749476292</c:v>
                </c:pt>
                <c:pt idx="4">
                  <c:v>2.1382653223300001</c:v>
                </c:pt>
                <c:pt idx="5">
                  <c:v>2.9930333324100005</c:v>
                </c:pt>
                <c:pt idx="6">
                  <c:v>3.6330772980699999</c:v>
                </c:pt>
                <c:pt idx="7">
                  <c:v>2.0585050420300002</c:v>
                </c:pt>
                <c:pt idx="8">
                  <c:v>3.0301850943600002</c:v>
                </c:pt>
                <c:pt idx="9">
                  <c:v>2.36938620957</c:v>
                </c:pt>
                <c:pt idx="10">
                  <c:v>2.3203278421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Konzernbereiche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5.6085001286000004E-2</c:v>
                </c:pt>
                <c:pt idx="1">
                  <c:v>4.939953129E-2</c:v>
                </c:pt>
                <c:pt idx="2">
                  <c:v>3.3320021060000003E-2</c:v>
                </c:pt>
                <c:pt idx="3">
                  <c:v>2.878219374E-2</c:v>
                </c:pt>
                <c:pt idx="4">
                  <c:v>2.2944197750000003E-2</c:v>
                </c:pt>
                <c:pt idx="5">
                  <c:v>2.6484992200000002E-2</c:v>
                </c:pt>
                <c:pt idx="6">
                  <c:v>2.0499518179999999E-2</c:v>
                </c:pt>
                <c:pt idx="7">
                  <c:v>3.0299639320000002E-2</c:v>
                </c:pt>
                <c:pt idx="8">
                  <c:v>3.7238405299999999E-2</c:v>
                </c:pt>
                <c:pt idx="9">
                  <c:v>4.3917000669999998E-2</c:v>
                </c:pt>
                <c:pt idx="10">
                  <c:v>4.173807833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3638730899725711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573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66741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rd.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ilanzwirksame Anlagenzugäng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59578378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517686" y="6065273"/>
            <a:ext cx="6921695" cy="413449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ktivierbare, bilanzwirksame Zugänge von Sachanlagen und immateriellen Anlage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2A8358-CC2F-4117-A57D-D8BE7A0BB9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ilanzwirksame Anlagenzugäng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anzwirksame Anlagenzugänge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